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  <p:sldMasterId id="2147483693" r:id="rId2"/>
    <p:sldMasterId id="2147483699" r:id="rId3"/>
    <p:sldMasterId id="2147483703" r:id="rId4"/>
    <p:sldMasterId id="2147483709" r:id="rId5"/>
    <p:sldMasterId id="2147483713" r:id="rId6"/>
    <p:sldMasterId id="2147483718" r:id="rId7"/>
    <p:sldMasterId id="2147483723" r:id="rId8"/>
    <p:sldMasterId id="2147483728" r:id="rId9"/>
    <p:sldMasterId id="2147483733" r:id="rId10"/>
    <p:sldMasterId id="2147483738" r:id="rId11"/>
    <p:sldMasterId id="2147483743" r:id="rId12"/>
    <p:sldMasterId id="2147483749" r:id="rId13"/>
    <p:sldMasterId id="2147483760" r:id="rId14"/>
    <p:sldMasterId id="2147483772" r:id="rId15"/>
  </p:sldMasterIdLst>
  <p:notesMasterIdLst>
    <p:notesMasterId r:id="rId24"/>
  </p:notesMasterIdLst>
  <p:handoutMasterIdLst>
    <p:handoutMasterId r:id="rId25"/>
  </p:handoutMasterIdLst>
  <p:sldIdLst>
    <p:sldId id="1165" r:id="rId16"/>
    <p:sldId id="1697" r:id="rId17"/>
    <p:sldId id="1702" r:id="rId18"/>
    <p:sldId id="1704" r:id="rId19"/>
    <p:sldId id="1683" r:id="rId20"/>
    <p:sldId id="1701" r:id="rId21"/>
    <p:sldId id="1689" r:id="rId22"/>
    <p:sldId id="1706" r:id="rId23"/>
  </p:sldIdLst>
  <p:sldSz cx="9144000" cy="6858000" type="screen4x3"/>
  <p:notesSz cx="7010400" cy="92964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8" userDrawn="1">
          <p15:clr>
            <a:srgbClr val="A4A3A4"/>
          </p15:clr>
        </p15:guide>
        <p15:guide id="2" pos="451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ine, Aaron" initials="F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51" autoAdjust="0"/>
    <p:restoredTop sz="88047" autoAdjust="0"/>
  </p:normalViewPr>
  <p:slideViewPr>
    <p:cSldViewPr snapToGrid="0" snapToObjects="1">
      <p:cViewPr>
        <p:scale>
          <a:sx n="110" d="100"/>
          <a:sy n="110" d="100"/>
        </p:scale>
        <p:origin x="-1950" y="-276"/>
      </p:cViewPr>
      <p:guideLst>
        <p:guide orient="horz" pos="720"/>
        <p:guide orient="horz" pos="3888"/>
        <p:guide pos="294"/>
        <p:guide pos="5478"/>
        <p:guide/>
      </p:guideLst>
    </p:cSldViewPr>
  </p:slideViewPr>
  <p:outlineViewPr>
    <p:cViewPr>
      <p:scale>
        <a:sx n="33" d="100"/>
        <a:sy n="33" d="100"/>
      </p:scale>
      <p:origin x="0" y="1582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91439" cy="9143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6500FB0-F6F2-4B4A-9096-17B3605B0E97}" type="datetimeFigureOut">
              <a:rPr lang="en-US" smtClean="0"/>
              <a:t>8/26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980E9FE-A570-4397-BE09-E697643851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7387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49BFFEF-A871-4A48-8379-86545547C51A}" type="datetimeFigureOut">
              <a:rPr lang="en-US" smtClean="0"/>
              <a:t>8/26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E518765-A850-4243-8AAD-84B5754B233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01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518765-A850-4243-8AAD-84B5754B233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642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563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363582"/>
            <a:ext cx="8382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8055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0400" y="633116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457199" y="6418400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447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  <a:ea typeface="MS PGothic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  <a:ea typeface="MS PGothic" pitchFamily="34" charset="-128"/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191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  <a:ea typeface="MS PGothic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  <a:ea typeface="MS PGothic" pitchFamily="34" charset="-128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4311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s-E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9806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149015" y="99783"/>
            <a:ext cx="869950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7278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178" y="260354"/>
            <a:ext cx="8437034" cy="3968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5789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E813EBC-6254-4636-A430-8D1645FF8896}" type="datetimeFigureOut">
              <a:rPr lang="en-US" sz="24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/26/2016</a:t>
            </a:fld>
            <a:endParaRPr lang="en-US" sz="2400" dirty="0">
              <a:solidFill>
                <a:prstClr val="black">
                  <a:tint val="75000"/>
                </a:prstClr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black">
                  <a:tint val="75000"/>
                </a:prstClr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397D5A69-1A72-4D6E-9754-6F270199B8B7}" type="slidenum">
              <a:rPr lang="en-US" sz="24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400" dirty="0">
              <a:solidFill>
                <a:prstClr val="black">
                  <a:tint val="75000"/>
                </a:prstClr>
              </a:solidFill>
              <a:latin typeface="Arial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70407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363582"/>
            <a:ext cx="8382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2389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0400" y="633116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457199" y="6418400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083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546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  <a:ea typeface="MS PGothic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  <a:ea typeface="MS PGothic" pitchFamily="34" charset="-128"/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330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  <a:ea typeface="MS PGothic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  <a:ea typeface="MS PGothic" pitchFamily="34" charset="-128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ea typeface="MS PGothic" pitchFamily="34" charset="-128"/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410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14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098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374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81294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1921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399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634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0286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003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046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493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7219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60505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593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207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137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04768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4416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321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2367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5257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70429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2227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940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633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69357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329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271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352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72066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31788" y="-2514783"/>
            <a:ext cx="8469312" cy="0"/>
          </a:xfrm>
          <a:prstGeom prst="line">
            <a:avLst/>
          </a:prstGeom>
          <a:ln w="12700" cmpd="sng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149015" y="99783"/>
            <a:ext cx="869950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949657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8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6349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868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78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586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3849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8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5196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853" y="6038850"/>
            <a:ext cx="2200344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14400" y="1808487"/>
            <a:ext cx="7373961" cy="2224053"/>
          </a:xfrm>
          <a:prstGeom prst="rect">
            <a:avLst/>
          </a:prstGeom>
        </p:spPr>
        <p:txBody>
          <a:bodyPr vert="horz"/>
          <a:lstStyle>
            <a:lvl1pPr algn="ctr">
              <a:defRPr sz="4000">
                <a:solidFill>
                  <a:srgbClr val="FF0000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516905" y="6357735"/>
            <a:ext cx="60459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prstClr val="white">
                    <a:lumMod val="50000"/>
                  </a:prstClr>
                </a:solidFill>
                <a:ea typeface="ＭＳ Ｐゴシック" charset="-128"/>
                <a:cs typeface="Arial"/>
              </a:rPr>
              <a:t>Internal Information </a:t>
            </a:r>
            <a:r>
              <a:rPr lang="en-US" sz="800" dirty="0" smtClean="0">
                <a:solidFill>
                  <a:prstClr val="white">
                    <a:lumMod val="50000"/>
                  </a:prstClr>
                </a:solidFill>
                <a:ea typeface="ＭＳ Ｐゴシック" charset="-128"/>
                <a:cs typeface="Arial"/>
              </a:rPr>
              <a:t>– Defined as information that relates to the operation of business. This information should be limited to access within Santander and to appropriate business partners.</a:t>
            </a:r>
            <a:endParaRPr lang="en-US" sz="800" dirty="0">
              <a:solidFill>
                <a:prstClr val="white">
                  <a:lumMod val="50000"/>
                </a:prstClr>
              </a:solidFill>
              <a:ea typeface="ＭＳ Ｐゴシック" charset="-128"/>
              <a:cs typeface="Arial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8116539" y="1521493"/>
            <a:ext cx="455961" cy="250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612775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>
            <a:off x="612775" y="1524000"/>
            <a:ext cx="457396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V="1">
            <a:off x="8522688" y="1489397"/>
            <a:ext cx="11712" cy="45115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H="1" flipV="1">
            <a:off x="8522688" y="4209893"/>
            <a:ext cx="11712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654050" y="4216340"/>
            <a:ext cx="0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54050" y="1499865"/>
            <a:ext cx="0" cy="45357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8123313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73270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31788" y="-2514783"/>
            <a:ext cx="8469312" cy="0"/>
          </a:xfrm>
          <a:prstGeom prst="line">
            <a:avLst/>
          </a:prstGeom>
          <a:ln w="12700" cmpd="sng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149016" y="99785"/>
            <a:ext cx="869950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dirty="0">
              <a:solidFill>
                <a:srgbClr val="FF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3207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603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5476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s-E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1019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667" y="2803749"/>
            <a:ext cx="3042604" cy="1132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153236" y="6327556"/>
            <a:ext cx="49124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prstClr val="white">
                    <a:lumMod val="50000"/>
                  </a:prstClr>
                </a:solidFill>
                <a:ea typeface="ＭＳ Ｐゴシック" charset="-128"/>
                <a:cs typeface="Arial"/>
              </a:rPr>
              <a:t>Internal Information </a:t>
            </a:r>
            <a:r>
              <a:rPr lang="en-US" sz="800" dirty="0" smtClean="0">
                <a:solidFill>
                  <a:prstClr val="white">
                    <a:lumMod val="50000"/>
                  </a:prstClr>
                </a:solidFill>
                <a:ea typeface="ＭＳ Ｐゴシック" charset="-128"/>
                <a:cs typeface="Arial"/>
              </a:rPr>
              <a:t>– Defined as information that relates to the operation of business.  This information should be limited to access within Santander and to appropriate business partners.</a:t>
            </a:r>
            <a:endParaRPr lang="en-US" sz="800" dirty="0">
              <a:solidFill>
                <a:prstClr val="white">
                  <a:lumMod val="50000"/>
                </a:prstClr>
              </a:solidFill>
              <a:ea typeface="ＭＳ Ｐゴシック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8496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n-U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6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2967335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>
              <a:defRPr sz="2400" b="1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(24pt Arial Bold/Red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440652"/>
            <a:ext cx="8229600" cy="43858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itle (Arial 20 </a:t>
            </a:r>
            <a:r>
              <a:rPr lang="en-US" sz="20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/Black)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60966"/>
            <a:ext cx="8229600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 b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resenter: Name and Title (18pt Arial, Gray)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9" y="5670803"/>
            <a:ext cx="5039959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inal/Draft Version: [Version Number] (14pt Arial, Gray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944600" y="134035"/>
            <a:ext cx="281840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For discussion / For review tag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90" y="5670803"/>
            <a:ext cx="234391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905310"/>
            <a:ext cx="82296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 </a:t>
            </a:r>
            <a:r>
              <a:rPr lang="en-US" dirty="0" err="1" smtClean="0"/>
              <a:t>pt</a:t>
            </a:r>
            <a:r>
              <a:rPr lang="en-US" dirty="0" smtClean="0"/>
              <a:t> Black)</a:t>
            </a:r>
          </a:p>
        </p:txBody>
      </p:sp>
      <p:pic>
        <p:nvPicPr>
          <p:cNvPr id="18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6495" y="6360358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0" y="6565745"/>
            <a:ext cx="1747658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328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5109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pic>
        <p:nvPicPr>
          <p:cNvPr id="22530" name="Picture 2" descr="http://www.altitude.com/uploads/images/thumbs/201518/42/santander_logo_7626_north_537x_whit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499958" y="6625529"/>
            <a:ext cx="1691489" cy="2308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ivate and confidential t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831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idx="1"/>
          </p:nvPr>
        </p:nvSpPr>
        <p:spPr>
          <a:xfrm>
            <a:off x="457200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idx="11"/>
          </p:nvPr>
        </p:nvSpPr>
        <p:spPr>
          <a:xfrm>
            <a:off x="4711849" y="1613646"/>
            <a:ext cx="3984322" cy="44106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8650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6837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7625" indent="-285750"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11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514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39398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6"/>
          <p:cNvSpPr>
            <a:spLocks noGrp="1"/>
          </p:cNvSpPr>
          <p:nvPr>
            <p:ph type="title" hasCustomPrompt="1"/>
          </p:nvPr>
        </p:nvSpPr>
        <p:spPr>
          <a:xfrm>
            <a:off x="457200" y="308060"/>
            <a:ext cx="8229600" cy="430887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he slide title</a:t>
            </a:r>
            <a:endParaRPr lang="en-US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8734386" y="71042"/>
            <a:ext cx="327064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46800" rIns="54000" bIns="4680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D8B0233-CF1E-4A07-AA92-9855D3C83DDA}" type="slidenum">
              <a:rPr lang="en-US" sz="14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7200" y="738947"/>
            <a:ext cx="8229600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468978"/>
            <a:ext cx="822108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 smtClean="0"/>
              <a:t>Click to add a footnote</a:t>
            </a:r>
          </a:p>
        </p:txBody>
      </p:sp>
      <p:pic>
        <p:nvPicPr>
          <p:cNvPr id="8" name="Picture 2" descr="http://www.altitude.com/uploads/images/thumbs/201518/42/santander_logo_7626_north_537x_whit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9718" y="6552306"/>
            <a:ext cx="1311455" cy="25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-48427" y="6622486"/>
            <a:ext cx="1747658" cy="3231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500" b="1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Santander Holdings USA</a:t>
            </a:r>
            <a:r>
              <a:rPr lang="en-US" sz="15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971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7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853" y="6038850"/>
            <a:ext cx="2200344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14400" y="1808487"/>
            <a:ext cx="7373961" cy="2224053"/>
          </a:xfrm>
          <a:prstGeom prst="rect">
            <a:avLst/>
          </a:prstGeom>
        </p:spPr>
        <p:txBody>
          <a:bodyPr vert="horz"/>
          <a:lstStyle>
            <a:lvl1pPr algn="ctr">
              <a:defRPr sz="4000">
                <a:solidFill>
                  <a:srgbClr val="FF0000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516905" y="6357735"/>
            <a:ext cx="60459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prstClr val="white">
                    <a:lumMod val="50000"/>
                  </a:prstClr>
                </a:solidFill>
                <a:ea typeface="ＭＳ Ｐゴシック" charset="-128"/>
                <a:cs typeface="Arial"/>
              </a:rPr>
              <a:t>Internal Information </a:t>
            </a:r>
            <a:r>
              <a:rPr lang="en-US" sz="800" dirty="0" smtClean="0">
                <a:solidFill>
                  <a:prstClr val="white">
                    <a:lumMod val="50000"/>
                  </a:prstClr>
                </a:solidFill>
                <a:ea typeface="ＭＳ Ｐゴシック" charset="-128"/>
                <a:cs typeface="Arial"/>
              </a:rPr>
              <a:t>– Defined as information that relates to the operation of business. This information should be limited to access within Santander and to appropriate business partners.</a:t>
            </a:r>
            <a:endParaRPr lang="en-US" sz="800" dirty="0">
              <a:solidFill>
                <a:prstClr val="white">
                  <a:lumMod val="50000"/>
                </a:prstClr>
              </a:solidFill>
              <a:ea typeface="ＭＳ Ｐゴシック" charset="-128"/>
              <a:cs typeface="Arial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8116539" y="1521493"/>
            <a:ext cx="455961" cy="250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612775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>
            <a:off x="612775" y="1524000"/>
            <a:ext cx="457396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V="1">
            <a:off x="8522688" y="1489397"/>
            <a:ext cx="11712" cy="45115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H="1" flipV="1">
            <a:off x="8522688" y="4209893"/>
            <a:ext cx="11712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654050" y="4216340"/>
            <a:ext cx="0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54050" y="1499865"/>
            <a:ext cx="0" cy="45357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8123313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57522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31788" y="-2514783"/>
            <a:ext cx="8469312" cy="0"/>
          </a:xfrm>
          <a:prstGeom prst="line">
            <a:avLst/>
          </a:prstGeom>
          <a:ln w="12700" cmpd="sng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149016" y="99785"/>
            <a:ext cx="869950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dirty="0">
              <a:solidFill>
                <a:srgbClr val="FF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224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0880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4421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149015" y="99783"/>
            <a:ext cx="869950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999998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667" y="2803749"/>
            <a:ext cx="3042604" cy="1132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153236" y="6327556"/>
            <a:ext cx="49124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prstClr val="white">
                    <a:lumMod val="50000"/>
                  </a:prstClr>
                </a:solidFill>
                <a:ea typeface="ＭＳ Ｐゴシック" charset="-128"/>
                <a:cs typeface="Arial"/>
              </a:rPr>
              <a:t>Internal Information </a:t>
            </a:r>
            <a:r>
              <a:rPr lang="en-US" sz="800" dirty="0" smtClean="0">
                <a:solidFill>
                  <a:prstClr val="white">
                    <a:lumMod val="50000"/>
                  </a:prstClr>
                </a:solidFill>
                <a:ea typeface="ＭＳ Ｐゴシック" charset="-128"/>
                <a:cs typeface="Arial"/>
              </a:rPr>
              <a:t>– Defined as information that relates to the operation of business.  This information should be limited to access within Santander and to appropriate business partners.</a:t>
            </a:r>
            <a:endParaRPr lang="en-US" sz="800" dirty="0">
              <a:solidFill>
                <a:prstClr val="white">
                  <a:lumMod val="50000"/>
                </a:prstClr>
              </a:solidFill>
              <a:ea typeface="ＭＳ Ｐゴシック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73735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2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853" y="6038850"/>
            <a:ext cx="2200344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14"/>
          <p:cNvCxnSpPr/>
          <p:nvPr userDrawn="1"/>
        </p:nvCxnSpPr>
        <p:spPr>
          <a:xfrm>
            <a:off x="8116539" y="1521493"/>
            <a:ext cx="455961" cy="250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12775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612775" y="1524000"/>
            <a:ext cx="457396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8522688" y="1489397"/>
            <a:ext cx="11712" cy="45115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 flipV="1">
            <a:off x="8522688" y="4209893"/>
            <a:ext cx="11712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654050" y="4216340"/>
            <a:ext cx="0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654050" y="1499865"/>
            <a:ext cx="0" cy="45357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14400" y="1808487"/>
            <a:ext cx="7373961" cy="2224053"/>
          </a:xfrm>
          <a:prstGeom prst="rect">
            <a:avLst/>
          </a:prstGeom>
        </p:spPr>
        <p:txBody>
          <a:bodyPr vert="horz" anchor="ctr"/>
          <a:lstStyle>
            <a:lvl1pPr algn="ctr">
              <a:defRPr sz="4000">
                <a:solidFill>
                  <a:srgbClr val="FF0000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516905" y="6235242"/>
            <a:ext cx="60459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FFFF">
                    <a:lumMod val="50000"/>
                  </a:srgbClr>
                </a:solidFill>
                <a:cs typeface="Arial"/>
              </a:rPr>
              <a:t>Confidential Information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cs typeface="Arial"/>
              </a:rPr>
              <a:t> – Defined as information that the unauthorized disclosure, destruction or compromise would result in substantive financial loss or sever damage to Santander’s integrity; cause significant advantage to competitor or generate financial penalties, due to violation of regulatory and legal requirements.  Information is intended for internal Santander use only, on a strict need to know basis.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8123313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99379" y="4169664"/>
            <a:ext cx="2609850" cy="320040"/>
          </a:xfrm>
          <a:prstGeom prst="rect">
            <a:avLst/>
          </a:prstGeo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accent1"/>
                </a:solidFill>
                <a:latin typeface="Calibri" pitchFamily="34" charset="0"/>
                <a:ea typeface="ＭＳ Ｐゴシック" pitchFamily="34" charset="-128"/>
              </a:rPr>
              <a:t>&lt;Insert Date&gt;</a:t>
            </a:r>
            <a:endParaRPr lang="en-US" sz="1800" b="1" dirty="0">
              <a:solidFill>
                <a:schemeClr val="accent1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6324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00025" y="1219200"/>
            <a:ext cx="4114800" cy="1828800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93058" y="4197451"/>
            <a:ext cx="4114800" cy="1828800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919472" y="1219200"/>
            <a:ext cx="4114800" cy="1828800"/>
          </a:xfrm>
          <a:prstGeom prst="rect">
            <a:avLst/>
          </a:prstGeom>
        </p:spPr>
        <p:txBody>
          <a:bodyPr/>
          <a:lstStyle>
            <a:lvl1pPr marL="173736" indent="-2286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lang="en-US" sz="1200" b="0" dirty="0" smtClean="0">
                <a:solidFill>
                  <a:schemeClr val="tx1"/>
                </a:solidFill>
                <a:latin typeface="+mn-lt"/>
                <a:ea typeface="+mn-ea"/>
                <a:cs typeface="ＭＳ Ｐゴシック"/>
              </a:defRPr>
            </a:lvl1pPr>
            <a:lvl2pPr marL="173736" indent="0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None/>
              <a:defRPr lang="en-US" sz="1100" dirty="0" smtClean="0">
                <a:solidFill>
                  <a:schemeClr val="tx1"/>
                </a:solidFill>
                <a:latin typeface="+mj-lt"/>
                <a:ea typeface="+mn-ea"/>
                <a:cs typeface="ＭＳ Ｐゴシック"/>
              </a:defRPr>
            </a:lvl2pPr>
            <a:lvl3pPr marL="173736" indent="0">
              <a:buNone/>
              <a:defRPr sz="1100">
                <a:latin typeface="+mj-lt"/>
              </a:defRPr>
            </a:lvl3pPr>
            <a:lvl4pPr>
              <a:defRPr sz="1100">
                <a:latin typeface="+mj-lt"/>
              </a:defRPr>
            </a:lvl4pPr>
            <a:lvl5pPr>
              <a:defRPr sz="1100">
                <a:latin typeface="+mj-lt"/>
              </a:defRPr>
            </a:lvl5pPr>
          </a:lstStyle>
          <a:p>
            <a:pPr marL="173736" lvl="0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  <a:p>
            <a:pPr marL="1105599" lvl="2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dirty="0" smtClean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912505" y="4197100"/>
            <a:ext cx="4114800" cy="1828800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47303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988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64872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Vintage 60+ Days Past Due (Ever)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64872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Net Charge-off (Annualized) % 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4720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30+ Days Past Due %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4720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Non Performing Loan %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652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4274139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400" b="1" dirty="0" smtClean="0">
                <a:solidFill>
                  <a:srgbClr val="000000"/>
                </a:solidFill>
                <a:ea typeface="ＭＳ Ｐゴシック"/>
              </a:rPr>
              <a:t>New Business – Exceptions %</a:t>
            </a:r>
            <a:endParaRPr lang="en-US" sz="1400" b="1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ea typeface="ＭＳ Ｐゴシック"/>
              </a:rPr>
              <a:t>New Business </a:t>
            </a:r>
            <a:r>
              <a:rPr lang="en-US" sz="1400" b="1" dirty="0" smtClean="0">
                <a:solidFill>
                  <a:srgbClr val="000000"/>
                </a:solidFill>
              </a:rPr>
              <a:t>– High Risk %</a:t>
            </a:r>
            <a:endParaRPr lang="en-US" sz="1400" b="1" baseline="30000" dirty="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3958648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Vintage Performance vs. Credit Quality 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750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 bwMode="gray">
          <a:xfrm>
            <a:off x="4572899" y="1140303"/>
            <a:ext cx="0" cy="557784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gray">
          <a:xfrm>
            <a:off x="539751" y="34179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88907" y="11388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 flipV="1">
            <a:off x="5119127" y="1135014"/>
            <a:ext cx="3701557" cy="387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388907" y="38550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 flipV="1">
            <a:off x="5119127" y="3847976"/>
            <a:ext cx="3701557" cy="70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00025" y="1219200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3988" indent="-153988" algn="ctr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1400" b="1" kern="0" dirty="0" smtClean="0">
                <a:solidFill>
                  <a:srgbClr val="000000"/>
                </a:solidFill>
              </a:rPr>
              <a:t>Risk Profile &amp; Performance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5119127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Initiatives &amp; Highlights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1000" y="3538027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Regulatory &amp; Self Identified Issue Remediation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5119127" y="3538026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Emerging &amp; Evolving Risk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00025" y="3959703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919472" y="1219200"/>
            <a:ext cx="4114800" cy="1846262"/>
          </a:xfrm>
          <a:prstGeom prst="rect">
            <a:avLst/>
          </a:prstGeom>
        </p:spPr>
        <p:txBody>
          <a:bodyPr/>
          <a:lstStyle>
            <a:lvl1pPr marL="173736" indent="-2286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lang="en-US" sz="1200" b="0" dirty="0" smtClean="0">
                <a:solidFill>
                  <a:schemeClr val="tx1"/>
                </a:solidFill>
                <a:latin typeface="+mn-lt"/>
                <a:ea typeface="+mn-ea"/>
                <a:cs typeface="ＭＳ Ｐゴシック"/>
              </a:defRPr>
            </a:lvl1pPr>
            <a:lvl2pPr marL="173736" indent="0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None/>
              <a:defRPr lang="en-US" sz="1100" dirty="0" smtClean="0">
                <a:solidFill>
                  <a:schemeClr val="tx1"/>
                </a:solidFill>
                <a:latin typeface="+mj-lt"/>
                <a:ea typeface="+mn-ea"/>
                <a:cs typeface="ＭＳ Ｐゴシック"/>
              </a:defRPr>
            </a:lvl2pPr>
            <a:lvl3pPr marL="173736" indent="0">
              <a:buNone/>
              <a:defRPr sz="1100">
                <a:latin typeface="+mj-lt"/>
              </a:defRPr>
            </a:lvl3pPr>
            <a:lvl4pPr>
              <a:defRPr sz="1100">
                <a:latin typeface="+mj-lt"/>
              </a:defRPr>
            </a:lvl4pPr>
            <a:lvl5pPr>
              <a:defRPr sz="1100">
                <a:latin typeface="+mj-lt"/>
              </a:defRPr>
            </a:lvl5pPr>
          </a:lstStyle>
          <a:p>
            <a:pPr marL="173736" lvl="0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  <a:p>
            <a:pPr marL="1105599" lvl="2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dirty="0" smtClean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919472" y="3959352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16507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667" y="2803749"/>
            <a:ext cx="3042604" cy="1132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153236" y="5998759"/>
            <a:ext cx="49124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FFFF">
                    <a:lumMod val="50000"/>
                  </a:srgbClr>
                </a:solidFill>
                <a:cs typeface="Arial"/>
              </a:rPr>
              <a:t>Confidential Information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cs typeface="Arial"/>
              </a:rPr>
              <a:t> – Defined as information that the unauthorized disclosure, destruction or compromise would result in substantive financial loss or sever damage to Santander’s integrity; cause significant advantage to competitor or generate financial penalties, due to violation of regulatory and legal requirements.  Information is intended for internal Santander use only, on a strict need to know basis.</a:t>
            </a:r>
          </a:p>
        </p:txBody>
      </p:sp>
    </p:spTree>
    <p:extLst>
      <p:ext uri="{BB962C8B-B14F-4D97-AF65-F5344CB8AC3E}">
        <p14:creationId xmlns:p14="http://schemas.microsoft.com/office/powerpoint/2010/main" val="1285164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65760" y="124720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Application FICO Score Distribution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5120640" y="124720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Approval Rate &amp; APR by FICO Score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65760" y="3966362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Portfolio FICO Score Distribution 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5138928" y="3966362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</a:rPr>
              <a:t>TDR Stock</a:t>
            </a:r>
            <a:endParaRPr lang="en-US" sz="1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007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814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178" y="260354"/>
            <a:ext cx="8437034" cy="3968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45020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149015" y="99783"/>
            <a:ext cx="869950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5770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E813EBC-6254-4636-A430-8D1645FF8896}" type="datetimeFigureOut">
              <a:rPr lang="en-US" sz="24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/26/2016</a:t>
            </a:fld>
            <a:endParaRPr lang="en-US" sz="2400" dirty="0">
              <a:solidFill>
                <a:prstClr val="black">
                  <a:tint val="75000"/>
                </a:prstClr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black">
                  <a:tint val="75000"/>
                </a:prstClr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397D5A69-1A72-4D6E-9754-6F270199B8B7}" type="slidenum">
              <a:rPr lang="en-US" sz="24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400" dirty="0">
              <a:solidFill>
                <a:prstClr val="black">
                  <a:tint val="75000"/>
                </a:prstClr>
              </a:solidFill>
              <a:latin typeface="Arial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32258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40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44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vmlDrawing" Target="../drawings/vmlDrawing9.v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10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10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vmlDrawing" Target="../drawings/vmlDrawing11.v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oleObject" Target="../embeddings/oleObject11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oleObject" Target="../embeddings/oleObject13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ags" Target="../tags/tag16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vmlDrawing" Target="../drawings/vmlDrawing15.vml"/><Relationship Id="rId17" Type="http://schemas.openxmlformats.org/officeDocument/2006/relationships/image" Target="../media/image8.jpe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oleObject" Target="../embeddings/oleObject15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1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7.v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5417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18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69541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91" r:id="rId4"/>
    <p:sldLayoutId id="2147483771" r:id="rId5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62340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23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1953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99995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5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49047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53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8882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48104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62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336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73193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76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70395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Object 2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21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64" name="Picture 16" descr="SOV_lineartRev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3"/>
          <a:stretch>
            <a:fillRect/>
          </a:stretch>
        </p:blipFill>
        <p:spPr bwMode="auto">
          <a:xfrm>
            <a:off x="304800" y="6364288"/>
            <a:ext cx="12588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/>
          <p:cNvSpPr txBox="1">
            <a:spLocks/>
          </p:cNvSpPr>
          <p:nvPr/>
        </p:nvSpPr>
        <p:spPr>
          <a:xfrm>
            <a:off x="7171630" y="6337509"/>
            <a:ext cx="383861" cy="52049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fld id="{4B995CA3-950E-4A67-93FA-32DF8F71E228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 panose="020F0502020204030204" pitchFamily="34" charset="0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16905" y="6402864"/>
            <a:ext cx="65359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FFFF">
                    <a:lumMod val="50000"/>
                  </a:srgbClr>
                </a:solidFill>
                <a:cs typeface="Arial"/>
              </a:rPr>
              <a:t>Confidential Information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cs typeface="Arial"/>
              </a:rPr>
              <a:t> – Defined as information that the unauthorized disclosure, destruction or compromise would result in substantive financial loss or sever damage to Santander’s integrity; cause significant advantage to competitor or generate financial penalties, due to violation of regulatory and legal requirements.  Information is intended for internal Santander use only, on a strict need to know basis.</a:t>
            </a:r>
          </a:p>
        </p:txBody>
      </p:sp>
      <p:pic>
        <p:nvPicPr>
          <p:cNvPr id="4" name="Picture 3" descr="sant-MReg_negativo_RGB.jp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119" y="6391951"/>
            <a:ext cx="1597881" cy="466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837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ＭＳ Ｐゴシック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>
          <a:solidFill>
            <a:srgbClr val="FF0000"/>
          </a:solidFill>
          <a:latin typeface="+mn-lt"/>
          <a:ea typeface="+mn-ea"/>
          <a:cs typeface="ＭＳ Ｐゴシック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ＭＳ Ｐゴシック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Arial" pitchFamily="34" charset="0"/>
          <a:ea typeface="+mn-ea"/>
          <a:cs typeface="ＭＳ Ｐゴシック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Arial" pitchFamily="34" charset="0"/>
          <a:ea typeface="+mn-ea"/>
          <a:cs typeface="ＭＳ Ｐゴシック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ＭＳ Ｐゴシック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056664" y="5904868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baseline="30000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Proprietary &amp; Confidential</a:t>
            </a:r>
            <a:endParaRPr lang="en-US" sz="1500" b="1" dirty="0">
              <a:solidFill>
                <a:prstClr val="black"/>
              </a:solidFill>
              <a:latin typeface="Arial" charset="0"/>
              <a:ea typeface="MS PGothic" pitchFamily="34" charset="-128"/>
            </a:endParaRPr>
          </a:p>
        </p:txBody>
      </p:sp>
      <p:pic>
        <p:nvPicPr>
          <p:cNvPr id="1026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400" y="6126759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45957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baseline="30000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Santander Holdings USA</a:t>
            </a:r>
            <a:r>
              <a:rPr lang="en-US" sz="15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 </a:t>
            </a:r>
            <a:endParaRPr lang="en-US" sz="1500" b="1" dirty="0">
              <a:solidFill>
                <a:prstClr val="black"/>
              </a:solidFill>
              <a:latin typeface="Arial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4222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38764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8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88822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056664" y="5904868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baseline="30000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Proprietary &amp; Confidential</a:t>
            </a:r>
            <a:endParaRPr lang="en-US" sz="1500" b="1" dirty="0">
              <a:solidFill>
                <a:prstClr val="black"/>
              </a:solidFill>
              <a:latin typeface="Arial" charset="0"/>
              <a:ea typeface="MS PGothic" pitchFamily="34" charset="-128"/>
            </a:endParaRPr>
          </a:p>
        </p:txBody>
      </p:sp>
      <p:pic>
        <p:nvPicPr>
          <p:cNvPr id="1026" name="Picture 2" descr="C:\Users\n610821\Desktop\sant-MReg_positivo_RGB.30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400" y="6126759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45957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baseline="30000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Santander Holdings USA</a:t>
            </a:r>
            <a:r>
              <a:rPr lang="en-US" sz="15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 </a:t>
            </a:r>
            <a:endParaRPr lang="en-US" sz="1500" b="1" dirty="0">
              <a:solidFill>
                <a:prstClr val="black"/>
              </a:solidFill>
              <a:latin typeface="Arial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55733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0833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97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11755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3759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13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51515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645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16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4856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69161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18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46517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9737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21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98407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5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>
            <a:spAutoFit/>
          </a:bodyPr>
          <a:lstStyle/>
          <a:p>
            <a:r>
              <a:rPr lang="en-US" dirty="0" smtClean="0"/>
              <a:t>Santander US P19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3581512"/>
            <a:ext cx="8229600" cy="400110"/>
          </a:xfrm>
        </p:spPr>
        <p:txBody>
          <a:bodyPr/>
          <a:lstStyle/>
          <a:p>
            <a:r>
              <a:rPr lang="en-US" dirty="0" smtClean="0"/>
              <a:t>Commercial Real Estate Banking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57199" y="4027060"/>
            <a:ext cx="5039959" cy="307777"/>
          </a:xfrm>
        </p:spPr>
        <p:txBody>
          <a:bodyPr/>
          <a:lstStyle/>
          <a:p>
            <a:r>
              <a:rPr lang="en-GB" dirty="0" smtClean="0"/>
              <a:t>August 26, 2016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63434" y="6541660"/>
            <a:ext cx="2403222" cy="307777"/>
          </a:xfrm>
        </p:spPr>
        <p:txBody>
          <a:bodyPr/>
          <a:lstStyle/>
          <a:p>
            <a:r>
              <a:rPr lang="en-US" dirty="0" smtClean="0"/>
              <a:t>Proprietary &amp; Confidentia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4560966"/>
            <a:ext cx="8229600" cy="400110"/>
          </a:xfrm>
        </p:spPr>
        <p:txBody>
          <a:bodyPr/>
          <a:lstStyle/>
          <a:p>
            <a:r>
              <a:rPr lang="en-US" dirty="0" smtClean="0"/>
              <a:t>Michael A. Lee, Managing Director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536830" y="2967335"/>
            <a:ext cx="42183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Pass 2 Update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460359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8060"/>
            <a:ext cx="8229600" cy="430887"/>
          </a:xfrm>
        </p:spPr>
        <p:txBody>
          <a:bodyPr/>
          <a:lstStyle/>
          <a:p>
            <a:r>
              <a:rPr lang="en-US" dirty="0" smtClean="0"/>
              <a:t>P-19 Plan Adjustments 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681" y="1173192"/>
            <a:ext cx="8229600" cy="5109882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Increase core business origination by </a:t>
            </a:r>
            <a:r>
              <a:rPr lang="en-US" sz="1600" dirty="0"/>
              <a:t>$500MM per </a:t>
            </a:r>
            <a:r>
              <a:rPr lang="en-US" sz="1600" dirty="0" smtClean="0"/>
              <a:t>annum, $250MM in MF  (Slide 3) and $250MM in CRE (Slide 4). </a:t>
            </a:r>
            <a:endParaRPr lang="en-US" sz="1600" dirty="0"/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AutoNum type="arabicPeriod" startAt="2"/>
            </a:pPr>
            <a:r>
              <a:rPr lang="en-US" sz="1600" dirty="0" smtClean="0"/>
              <a:t>Increase P-19 year 3 Gross </a:t>
            </a:r>
            <a:r>
              <a:rPr lang="en-US" sz="1600" dirty="0"/>
              <a:t>R</a:t>
            </a:r>
            <a:r>
              <a:rPr lang="en-US" sz="1600" dirty="0" smtClean="0"/>
              <a:t>evenue by $41.7MM and Net Revenue by $14.3MM. (Slide 5)</a:t>
            </a: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AutoNum type="arabicPeriod" startAt="2"/>
            </a:pPr>
            <a:r>
              <a:rPr lang="en-US" sz="1600" dirty="0" smtClean="0"/>
              <a:t>Edits made to provision, no impact on expense, 2019 PAT increases to $138MM (Slide 6).</a:t>
            </a: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AutoNum type="arabicPeriod" startAt="2"/>
            </a:pPr>
            <a:r>
              <a:rPr lang="en-US" sz="1600" dirty="0" smtClean="0"/>
              <a:t>Requires increase to MF Risk </a:t>
            </a:r>
            <a:r>
              <a:rPr lang="en-US" sz="1600" dirty="0"/>
              <a:t>A</a:t>
            </a:r>
            <a:r>
              <a:rPr lang="en-US" sz="1600" dirty="0" smtClean="0"/>
              <a:t>ppetite from 105% to 108% and increase to CRE construction  sublimit  from 40% to 44%. (Slide 7)</a:t>
            </a:r>
          </a:p>
          <a:p>
            <a:pPr marL="342900" indent="-342900">
              <a:buAutoNum type="arabicPeriod" startAt="2"/>
            </a:pPr>
            <a:endParaRPr lang="en-US" sz="1600" dirty="0"/>
          </a:p>
          <a:p>
            <a:pPr marL="342900" indent="-342900">
              <a:buFont typeface="Arial"/>
              <a:buAutoNum type="arabicPeriod" startAt="2"/>
            </a:pPr>
            <a:r>
              <a:rPr lang="en-US" sz="1600" dirty="0"/>
              <a:t>Liquidity Premium increases, especially for term loans, can not be passed through to the market causing </a:t>
            </a:r>
            <a:r>
              <a:rPr lang="en-US" sz="1600" dirty="0" smtClean="0"/>
              <a:t>the overall financial impact to be less accretive, ROA increases from 89bp to 95bp.</a:t>
            </a:r>
            <a:endParaRPr lang="en-US" sz="1600" dirty="0"/>
          </a:p>
          <a:p>
            <a:pPr marL="342900" indent="-342900">
              <a:buAutoNum type="arabicPeriod" startAt="2"/>
            </a:pPr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760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family Loan Roll-forwar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3" y="1481138"/>
            <a:ext cx="8296275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561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truction Loan Roll-forwar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390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" y="1167643"/>
            <a:ext cx="8296275" cy="97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00756" y="859866"/>
            <a:ext cx="43045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Originated Commitments</a:t>
            </a:r>
            <a:endParaRPr lang="en-US" sz="1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66982" y="2209035"/>
            <a:ext cx="43045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Balances</a:t>
            </a:r>
            <a:endParaRPr lang="en-US" sz="1400" b="1" dirty="0"/>
          </a:p>
        </p:txBody>
      </p:sp>
      <p:pic>
        <p:nvPicPr>
          <p:cNvPr id="123904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3" y="2516812"/>
            <a:ext cx="8287758" cy="389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4570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83"/>
            <a:ext cx="8315864" cy="738664"/>
          </a:xfrm>
        </p:spPr>
        <p:txBody>
          <a:bodyPr/>
          <a:lstStyle/>
          <a:p>
            <a:r>
              <a:rPr lang="en-US" sz="2100" dirty="0" smtClean="0"/>
              <a:t>Additional $500MM per annum of MF/ Construction originations</a:t>
            </a:r>
            <a:endParaRPr lang="en-US" sz="21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3699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9639" y="1157288"/>
            <a:ext cx="4684341" cy="33111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699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83" y="877443"/>
            <a:ext cx="4034375" cy="541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647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stimated Impact to CREB Consolidated Financial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9744" y="6024770"/>
            <a:ext cx="8747184" cy="430887"/>
          </a:xfrm>
        </p:spPr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 smtClean="0"/>
              <a:t>Provision changes from original Pass 2 deck reviewed on 8/16 are as follows: </a:t>
            </a:r>
            <a:r>
              <a:rPr lang="en-US" dirty="0"/>
              <a:t>+</a:t>
            </a:r>
            <a:r>
              <a:rPr lang="en-US" dirty="0" smtClean="0"/>
              <a:t>1.4mm in 2016, </a:t>
            </a:r>
            <a:r>
              <a:rPr lang="en-US" dirty="0"/>
              <a:t>+</a:t>
            </a:r>
            <a:r>
              <a:rPr lang="en-US" dirty="0" smtClean="0"/>
              <a:t>3.0mm in 2017, &lt;3.3mm&gt; in 2018, &lt;1.9mm&gt; in 2019.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Adjustments to provision is subject to approval by ALLL committee. 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62" y="817858"/>
            <a:ext cx="7214482" cy="52069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02259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8029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477098"/>
              </p:ext>
            </p:extLst>
          </p:nvPr>
        </p:nvGraphicFramePr>
        <p:xfrm>
          <a:off x="235865" y="6258560"/>
          <a:ext cx="28956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56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Santander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 Bank, N.A.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08548" y="215611"/>
            <a:ext cx="8983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ct val="0"/>
              </a:spcBef>
            </a:pPr>
            <a:r>
              <a:rPr lang="en-US" b="1" dirty="0"/>
              <a:t>Commercial Real Estate Concentrations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17" y="785952"/>
            <a:ext cx="6972522" cy="5472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>
          <a:xfrm>
            <a:off x="4425353" y="1820173"/>
            <a:ext cx="773500" cy="267419"/>
          </a:xfrm>
          <a:prstGeom prst="ellipse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336211" y="4745963"/>
            <a:ext cx="862641" cy="205600"/>
          </a:xfrm>
          <a:prstGeom prst="ellipse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Arrow Connector 5"/>
          <p:cNvCxnSpPr>
            <a:stCxn id="4" idx="6"/>
          </p:cNvCxnSpPr>
          <p:nvPr/>
        </p:nvCxnSpPr>
        <p:spPr>
          <a:xfrm flipV="1">
            <a:off x="5198853" y="1647645"/>
            <a:ext cx="2547668" cy="3062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9" idx="6"/>
          </p:cNvCxnSpPr>
          <p:nvPr/>
        </p:nvCxnSpPr>
        <p:spPr>
          <a:xfrm flipV="1">
            <a:off x="5198852" y="4615132"/>
            <a:ext cx="2547669" cy="23363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735857" y="1440612"/>
            <a:ext cx="15141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FF0000"/>
                </a:solidFill>
              </a:rPr>
              <a:t>Proposed increase to 108.0%, with an Amber Target of 98%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35857" y="4412978"/>
            <a:ext cx="15141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FF0000"/>
                </a:solidFill>
              </a:rPr>
              <a:t>Proposed increase to 44.0%</a:t>
            </a:r>
            <a:endParaRPr 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28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184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88460"/>
              </p:ext>
            </p:extLst>
          </p:nvPr>
        </p:nvGraphicFramePr>
        <p:xfrm>
          <a:off x="132348" y="6443980"/>
          <a:ext cx="28956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56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Santander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 Bank, N.A.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20692" y="205331"/>
            <a:ext cx="8228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ct val="0"/>
              </a:spcBef>
            </a:pPr>
            <a:r>
              <a:rPr lang="en-US" b="1" dirty="0" smtClean="0"/>
              <a:t>Projected Exposure vs. Limits</a:t>
            </a:r>
            <a:endParaRPr lang="en-US" b="1" dirty="0"/>
          </a:p>
        </p:txBody>
      </p:sp>
      <p:pic>
        <p:nvPicPr>
          <p:cNvPr id="1247241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348" y="1233487"/>
            <a:ext cx="8924925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287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True"/>
  <p:tag name="PREVIOUSNAME" val="C:\Users\Zvetelina Stantcheva\Documents\Santander\Santander\160125-Board strategy discussion v21.pptx"/>
  <p:tag name="THINKCELLPRESENTATIONDONOTDELETE" val="&lt;?xml version=&quot;1.0&quot; encoding=&quot;UTF-16&quot; standalone=&quot;yes&quot;?&gt;&#10;&lt;root reqver=&quot;21047&quot;&gt;&lt;version val=&quot;232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8&quot;&gt;&lt;elem m_fUsage=&quot;6.24057573003117390000E+000&quot;&gt;&lt;m_msothmcolidx val=&quot;0&quot;/&gt;&lt;m_rgb r=&quot;ff&quot; g=&quot;4&quot; b=&quot;b&quot;/&gt;&lt;m_ppcolschidx tagver0=&quot;23004&quot; tagname0=&quot;m_ppcolschidxUNRECOGNIZED&quot; val=&quot;0&quot;/&gt;&lt;m_nBrightness val=&quot;0&quot;/&gt;&lt;/elem&gt;&lt;elem m_fUsage=&quot;9.26066213007529780000E-001&quot;&gt;&lt;m_msothmcolidx val=&quot;0&quot;/&gt;&lt;m_rgb r=&quot;ff&quot; g=&quot;9d&quot; b=&quot;aa&quot;/&gt;&lt;m_ppcolschidx tagver0=&quot;23004&quot; tagname0=&quot;m_ppcolschidxUNRECOGNIZED&quot; val=&quot;0&quot;/&gt;&lt;m_nBrightness val=&quot;0&quot;/&gt;&lt;/elem&gt;&lt;elem m_fUsage=&quot;8.67199606444600700000E-001&quot;&gt;&lt;m_msothmcolidx val=&quot;0&quot;/&gt;&lt;m_rgb r=&quot;60&quot; g=&quot;60&quot; b=&quot;60&quot;/&gt;&lt;m_ppcolschidx tagver0=&quot;23004&quot; tagname0=&quot;m_ppcolschidxUNRECOGNIZED&quot; val=&quot;0&quot;/&gt;&lt;m_nBrightness val=&quot;0&quot;/&gt;&lt;/elem&gt;&lt;elem m_fUsage=&quot;8.53387076713922440000E-001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6.29078102608675250000E-001&quot;&gt;&lt;m_msothmcolidx val=&quot;0&quot;/&gt;&lt;m_rgb r=&quot;c&quot; g=&quot;be&quot; b=&quot;10&quot;/&gt;&lt;m_ppcolschidx tagver0=&quot;23004&quot; tagname0=&quot;m_ppcolschidxUNRECOGNIZED&quot; val=&quot;0&quot;/&gt;&lt;m_nBrightness val=&quot;0&quot;/&gt;&lt;/elem&gt;&lt;elem m_fUsage=&quot;2.05891132094649100000E-001&quot;&gt;&lt;m_msothmcolidx val=&quot;0&quot;/&gt;&lt;m_rgb r=&quot;fe&quot; g=&quot;c0&quot; b=&quot;ca&quot;/&gt;&lt;m_ppcolschidx tagver0=&quot;23004&quot; tagname0=&quot;m_ppcolschidxUNRECOGNIZED&quot; val=&quot;0&quot;/&gt;&lt;m_nBrightness val=&quot;0&quot;/&gt;&lt;/elem&gt;&lt;elem m_fUsage=&quot;2.00082901826618840000E-001&quot;&gt;&lt;m_msothmcolidx val=&quot;0&quot;/&gt;&lt;m_rgb r=&quot;e0&quot; g=&quot;e0&quot; b=&quot;e0&quot;/&gt;&lt;m_ppcolschidx tagver0=&quot;23004&quot; tagname0=&quot;m_ppcolschidxUNRECOGNIZED&quot; val=&quot;0&quot;/&gt;&lt;m_nBrightness val=&quot;0&quot;/&gt;&lt;/elem&gt;&lt;elem m_fUsage=&quot;6.31634538435251890000E-002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8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9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0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1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12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Consumer_Credit_risk">
  <a:themeElements>
    <a:clrScheme name="2_SovSan_Template_US 2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ody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effectLst/>
      </a:spPr>
      <a:bodyPr rtlCol="0" anchor="ctr"/>
      <a:lstStyle>
        <a:defPPr algn="ctr">
          <a:defRPr sz="14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Body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effectLst/>
      </a:spPr>
      <a:bodyPr rtlCol="0" anchor="ctr"/>
      <a:lstStyle>
        <a:defPPr algn="ctr">
          <a:defRPr sz="14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5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6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7_PowerPointTemplate vTA">
  <a:themeElements>
    <a:clrScheme name="Santander">
      <a:dk1>
        <a:srgbClr val="000000"/>
      </a:dk1>
      <a:lt1>
        <a:sysClr val="window" lastClr="FFFFFF"/>
      </a:lt1>
      <a:dk2>
        <a:srgbClr val="FF0000"/>
      </a:dk2>
      <a:lt2>
        <a:srgbClr val="BFBFBF"/>
      </a:lt2>
      <a:accent1>
        <a:srgbClr val="FF0000"/>
      </a:accent1>
      <a:accent2>
        <a:srgbClr val="3F3F3F"/>
      </a:accent2>
      <a:accent3>
        <a:srgbClr val="7F7F7F"/>
      </a:accent3>
      <a:accent4>
        <a:srgbClr val="BFBFBF"/>
      </a:accent4>
      <a:accent5>
        <a:srgbClr val="F2F2F2"/>
      </a:accent5>
      <a:accent6>
        <a:srgbClr val="000000"/>
      </a:accent6>
      <a:hlink>
        <a:srgbClr val="1F497D"/>
      </a:hlink>
      <a:folHlink>
        <a:srgbClr val="4F81B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rategic_Planning_Template v02</Template>
  <TotalTime>22441</TotalTime>
  <Words>267</Words>
  <Application>Microsoft Office PowerPoint</Application>
  <PresentationFormat>On-screen Show (4:3)</PresentationFormat>
  <Paragraphs>33</Paragraphs>
  <Slides>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4" baseType="lpstr">
      <vt:lpstr>1_PowerPointTemplate vTA</vt:lpstr>
      <vt:lpstr>Body Slide</vt:lpstr>
      <vt:lpstr>2_PowerPointTemplate vTA</vt:lpstr>
      <vt:lpstr>1_Body Slide</vt:lpstr>
      <vt:lpstr>3_PowerPointTemplate vTA</vt:lpstr>
      <vt:lpstr>4_PowerPointTemplate vTA</vt:lpstr>
      <vt:lpstr>5_PowerPointTemplate vTA</vt:lpstr>
      <vt:lpstr>6_PowerPointTemplate vTA</vt:lpstr>
      <vt:lpstr>7_PowerPointTemplate vTA</vt:lpstr>
      <vt:lpstr>8_PowerPointTemplate vTA</vt:lpstr>
      <vt:lpstr>9_PowerPointTemplate vTA</vt:lpstr>
      <vt:lpstr>10_PowerPointTemplate vTA</vt:lpstr>
      <vt:lpstr>11_PowerPointTemplate vTA</vt:lpstr>
      <vt:lpstr>12_PowerPointTemplate vTA</vt:lpstr>
      <vt:lpstr>Consumer_Credit_risk</vt:lpstr>
      <vt:lpstr>think-cell Slide</vt:lpstr>
      <vt:lpstr>Santander US P19</vt:lpstr>
      <vt:lpstr>P-19 Plan Adjustments Executive Summary</vt:lpstr>
      <vt:lpstr>Multifamily Loan Roll-forward</vt:lpstr>
      <vt:lpstr>Construction Loan Roll-forward</vt:lpstr>
      <vt:lpstr>Additional $500MM per annum of MF/ Construction originations</vt:lpstr>
      <vt:lpstr>Estimated Impact to CREB Consolidated Financials</vt:lpstr>
      <vt:lpstr>PowerPoint Presentation</vt:lpstr>
      <vt:lpstr>PowerPoint Presentation</vt:lpstr>
    </vt:vector>
  </TitlesOfParts>
  <Company>Sovereign Ban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onso Martinez, Tomas</dc:creator>
  <cp:lastModifiedBy>Reilly, Tim</cp:lastModifiedBy>
  <cp:revision>2721</cp:revision>
  <cp:lastPrinted>2016-08-23T17:44:43Z</cp:lastPrinted>
  <dcterms:created xsi:type="dcterms:W3CDTF">2016-01-06T19:06:42Z</dcterms:created>
  <dcterms:modified xsi:type="dcterms:W3CDTF">2016-08-26T20:1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K</vt:lpwstr>
  </property>
</Properties>
</file>